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94" r:id="rId1"/>
  </p:sldMasterIdLst>
  <p:notesMasterIdLst>
    <p:notesMasterId r:id="rId16"/>
  </p:notesMasterIdLst>
  <p:sldIdLst>
    <p:sldId id="324" r:id="rId2"/>
    <p:sldId id="325" r:id="rId3"/>
    <p:sldId id="326" r:id="rId4"/>
    <p:sldId id="327" r:id="rId5"/>
    <p:sldId id="334" r:id="rId6"/>
    <p:sldId id="328" r:id="rId7"/>
    <p:sldId id="330" r:id="rId8"/>
    <p:sldId id="331" r:id="rId9"/>
    <p:sldId id="332" r:id="rId10"/>
    <p:sldId id="333" r:id="rId11"/>
    <p:sldId id="335" r:id="rId12"/>
    <p:sldId id="336" r:id="rId13"/>
    <p:sldId id="340" r:id="rId14"/>
    <p:sldId id="339" r:id="rId15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23A5E"/>
    <a:srgbClr val="B6ADA5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933" autoAdjust="0"/>
  </p:normalViewPr>
  <p:slideViewPr>
    <p:cSldViewPr snapToGrid="0">
      <p:cViewPr varScale="1">
        <p:scale>
          <a:sx n="64" d="100"/>
          <a:sy n="64" d="100"/>
        </p:scale>
        <p:origin x="90" y="43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71F459-99EA-4866-933C-4A68102C99CB}" type="datetimeFigureOut">
              <a:rPr lang="en-US"/>
              <a:t>12/5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36BE08-7E0F-4728-9CA0-380746F5A040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0280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2145850"/>
            <a:ext cx="10058400" cy="2179261"/>
          </a:xfrm>
        </p:spPr>
        <p:txBody>
          <a:bodyPr anchor="b">
            <a:normAutofit/>
          </a:bodyPr>
          <a:lstStyle>
            <a:lvl1pPr algn="r">
              <a:lnSpc>
                <a:spcPct val="85000"/>
              </a:lnSpc>
              <a:defRPr sz="8000" spc="-5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0"/>
            <a:ext cx="10058400" cy="1143000"/>
          </a:xfrm>
        </p:spPr>
        <p:txBody>
          <a:bodyPr lIns="91440" rIns="91440">
            <a:normAutofit/>
          </a:bodyPr>
          <a:lstStyle>
            <a:lvl1pPr marL="0" indent="0" algn="r">
              <a:buNone/>
              <a:defRPr sz="2400" cap="all" spc="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61F26F-6B3A-4C68-B952-3BD271124EB6}" type="datetime1">
              <a:rPr lang="en-US" smtClean="0"/>
              <a:t>12/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510" y="136645"/>
            <a:ext cx="855770" cy="85577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4961" y="281988"/>
            <a:ext cx="7243038" cy="1798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2520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D1068C6-F532-4560-B0BF-89BEF2D2BF3C}" type="datetime1">
              <a:rPr lang="en-US" smtClean="0"/>
              <a:t>12/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43701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4778"/>
            <a:ext cx="2628900" cy="5757421"/>
          </a:xfrm>
        </p:spPr>
        <p:txBody>
          <a:bodyPr vert="eaVer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4778"/>
            <a:ext cx="7734300" cy="5757422"/>
          </a:xfrm>
        </p:spPr>
        <p:txBody>
          <a:bodyPr vert="eaVert" lIns="45720" tIns="0" rIns="45720" b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F13D73E-0D07-45B9-BEF4-DC52CB1158A7}" type="datetime1">
              <a:rPr lang="en-US" smtClean="0"/>
              <a:t>12/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6670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 algn="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 algn="r" rtl="1">
              <a:buNone/>
              <a:defRPr/>
            </a:lvl1pPr>
            <a:lvl2pPr algn="r" rtl="1">
              <a:defRPr/>
            </a:lvl2pPr>
            <a:lvl3pPr algn="r" rtl="1">
              <a:defRPr/>
            </a:lvl3pPr>
            <a:lvl4pPr algn="r" rtl="1">
              <a:defRPr/>
            </a:lvl4pPr>
            <a:lvl5pPr algn="r" rtl="1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/>
            </a:lvl1pPr>
          </a:lstStyle>
          <a:p>
            <a:fld id="{D2E8111A-40BE-4C1A-9F4D-E8F1F18710CF}" type="datetime1">
              <a:rPr lang="en-US" smtClean="0"/>
              <a:pPr/>
              <a:t>12/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r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5046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2139580"/>
            <a:ext cx="10058400" cy="2185532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722FBB6-8FD8-4BC7-9111-16C81E91A8BB}" type="datetime1">
              <a:rPr lang="en-US" smtClean="0"/>
              <a:t>12/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4961" y="281988"/>
            <a:ext cx="7243038" cy="179860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510" y="184052"/>
            <a:ext cx="855770" cy="855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8892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384D0A1-6F2F-438F-A581-53E4FE270E45}" type="datetime1">
              <a:rPr lang="en-US" smtClean="0"/>
              <a:t>12/5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6607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27E40C0-0DDC-4C34-91E0-740041BE2519}" type="datetime1">
              <a:rPr lang="en-US" smtClean="0"/>
              <a:t>12/5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9733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30971C-5A1A-4DC2-B984-52E45C452E2E}" type="datetime1">
              <a:rPr lang="en-US" smtClean="0"/>
              <a:t>12/5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561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69D76F-5439-4CB8-A8A1-8868BCEDE638}" type="datetime1">
              <a:rPr lang="en-US" smtClean="0"/>
              <a:t>12/5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054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</p:spPr>
        <p:txBody>
          <a:bodyPr/>
          <a:lstStyle>
            <a:lvl1pPr algn="l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3B14F0-5AC8-457E-B61A-E8114289170B}" type="datetime1">
              <a:rPr lang="en-US" smtClean="0"/>
              <a:t>12/5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8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4929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264" cy="822960"/>
          </a:xfr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blipFill>
            <a:blip r:embed="rId2"/>
            <a:stretch>
              <a:fillRect/>
            </a:stretch>
          </a:blipFill>
        </p:spPr>
        <p:txBody>
          <a:bodyPr lIns="457200" tIns="457200" anchor="t"/>
          <a:lstStyle>
            <a:lvl1pPr marL="0" indent="0">
              <a:buNone/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3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79E50B3-DDF6-4946-9C3E-EB575A0CFEF8}" type="datetime1">
              <a:rPr lang="en-US" smtClean="0"/>
              <a:t>12/5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67E5644-1E61-4311-A31E-84CB9C7AA8A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61642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0" y="6334316"/>
            <a:ext cx="12192001" cy="659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C231-3CA2-4FF8-8F43-5C133E46E4EB}" type="datetime1">
              <a:rPr lang="en-US" smtClean="0"/>
              <a:t>12/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1">
              <a:defRPr sz="105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258" y="133351"/>
            <a:ext cx="855770" cy="85577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9789" y="133350"/>
            <a:ext cx="2386584" cy="540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3945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r" defTabSz="914400" rtl="1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bg2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91440" indent="-91440" algn="r" defTabSz="914400" rtl="1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84048" indent="-182880" algn="r" defTabSz="914400" rtl="1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66928" indent="-182880" algn="r" defTabSz="914400" rtl="1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749808" indent="-182880" algn="r" defTabSz="914400" rtl="1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932688" indent="-182880" algn="r" defTabSz="914400" rtl="1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120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163267" y="2911845"/>
            <a:ext cx="940723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400"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3600" dirty="0" smtClean="0">
                <a:solidFill>
                  <a:schemeClr val="bg2">
                    <a:lumMod val="50000"/>
                  </a:schemeClr>
                </a:solidFill>
              </a:rPr>
              <a:t>Ministry of Industry, Commerce and Tourism</a:t>
            </a:r>
          </a:p>
          <a:p>
            <a:pPr algn="ctr"/>
            <a:endParaRPr lang="en-US" sz="3600" dirty="0" smtClean="0">
              <a:solidFill>
                <a:schemeClr val="bg2">
                  <a:lumMod val="50000"/>
                </a:schemeClr>
              </a:solidFill>
            </a:endParaRPr>
          </a:p>
          <a:p>
            <a:pPr algn="ctr"/>
            <a:endParaRPr lang="en-US" sz="3600" dirty="0" smtClean="0">
              <a:solidFill>
                <a:schemeClr val="bg2">
                  <a:lumMod val="50000"/>
                </a:schemeClr>
              </a:solidFill>
            </a:endParaRPr>
          </a:p>
          <a:p>
            <a:pPr algn="ctr"/>
            <a:r>
              <a:rPr lang="en-US" sz="3600" b="1" dirty="0" smtClean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MEs </a:t>
            </a:r>
            <a:r>
              <a:rPr lang="en-US" sz="3600" b="1" dirty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velopment Directorate</a:t>
            </a:r>
          </a:p>
        </p:txBody>
      </p:sp>
    </p:spTree>
    <p:extLst>
      <p:ext uri="{BB962C8B-B14F-4D97-AF65-F5344CB8AC3E}">
        <p14:creationId xmlns:p14="http://schemas.microsoft.com/office/powerpoint/2010/main" val="668983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10</a:t>
            </a:fld>
            <a:endParaRPr lang="en-US" dirty="0"/>
          </a:p>
        </p:txBody>
      </p:sp>
      <p:sp>
        <p:nvSpPr>
          <p:cNvPr id="82" name="TextBox 81"/>
          <p:cNvSpPr txBox="1"/>
          <p:nvPr/>
        </p:nvSpPr>
        <p:spPr>
          <a:xfrm>
            <a:off x="4018540" y="3445118"/>
            <a:ext cx="6633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SA" b="1" dirty="0" smtClean="0">
                <a:solidFill>
                  <a:schemeClr val="bg1"/>
                </a:solidFill>
              </a:rPr>
              <a:t>معاينة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004711" y="2380787"/>
            <a:ext cx="10207772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Low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n-US" alt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e following companies may </a:t>
            </a:r>
            <a:r>
              <a:rPr lang="en-US" altLang="en-US" b="1" u="sng" dirty="0">
                <a:solidFill>
                  <a:srgbClr val="223A5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ot be hosted </a:t>
            </a:r>
            <a:r>
              <a:rPr lang="en-US" alt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under Incubators:</a:t>
            </a:r>
            <a:endParaRPr lang="en-US" altLang="en-US" dirty="0">
              <a:solidFill>
                <a:srgbClr val="223A5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00100" lvl="1" indent="-342900" algn="justLow" defTabSz="91440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altLang="en-US" b="1" dirty="0">
                <a:solidFill>
                  <a:srgbClr val="223A5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ahraini or Foreign Holding companies</a:t>
            </a:r>
            <a:endParaRPr lang="en-US" altLang="en-US" b="1" dirty="0">
              <a:solidFill>
                <a:srgbClr val="223A5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00100" lvl="1" indent="-342900" algn="justLow" defTabSz="91440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altLang="en-US" b="1" dirty="0">
                <a:solidFill>
                  <a:srgbClr val="223A5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ranches of Foreign Companies with annual revenue exceeding BD 1 million, and more than 50 employees globally. </a:t>
            </a:r>
            <a:endParaRPr lang="en-US" altLang="en-US" b="1" dirty="0">
              <a:solidFill>
                <a:srgbClr val="223A5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00100" lvl="1" indent="-342900" algn="justLow" defTabSz="91440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altLang="en-US" b="1" dirty="0">
                <a:solidFill>
                  <a:srgbClr val="223A5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Foreign companies bidding for Government or Private Sector contracts.</a:t>
            </a:r>
            <a:endParaRPr lang="en-US" altLang="en-US" b="1" dirty="0">
              <a:solidFill>
                <a:srgbClr val="223A5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00100" lvl="1" indent="-342900" algn="justLow" defTabSz="91440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altLang="en-US" b="1" dirty="0">
                <a:solidFill>
                  <a:srgbClr val="223A5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ahraini or Foreign contracting and construction Companies.</a:t>
            </a:r>
          </a:p>
          <a:p>
            <a:pPr marL="742950" lvl="1" indent="-285750" algn="justLow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endParaRPr lang="en-US" altLang="en-US" dirty="0">
              <a:solidFill>
                <a:srgbClr val="223A5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 algn="justLow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223A5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lvl="0" indent="-285750" algn="justLow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n-US" alt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ahraini Companies with an existing CR can relocate or “Change Commercial Registration address” to an Incubator to avail and benefit from Incubation services. Companies may only “Change Address” during their </a:t>
            </a:r>
            <a:r>
              <a:rPr lang="en-US" altLang="en-US" b="1" u="sng" dirty="0">
                <a:solidFill>
                  <a:srgbClr val="223A5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2 months </a:t>
            </a:r>
            <a:r>
              <a:rPr lang="en-US" alt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of registration. This change will be subject to meeting all “Incubated Startups - Terms &amp; Conditions” prior to the application. </a:t>
            </a:r>
          </a:p>
        </p:txBody>
      </p:sp>
      <p:sp>
        <p:nvSpPr>
          <p:cNvPr id="5" name="Rectangle 4"/>
          <p:cNvSpPr/>
          <p:nvPr/>
        </p:nvSpPr>
        <p:spPr>
          <a:xfrm>
            <a:off x="1344634" y="1672901"/>
            <a:ext cx="95279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2800" b="1" u="sng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Terms &amp; </a:t>
            </a:r>
            <a:r>
              <a:rPr lang="en-US" altLang="en-US" sz="2800" b="1" u="sng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Conditions</a:t>
            </a:r>
            <a:endParaRPr lang="en-US" altLang="en-US" sz="2800" b="1" u="sng" dirty="0">
              <a:solidFill>
                <a:schemeClr val="tx1">
                  <a:lumMod val="95000"/>
                  <a:lumOff val="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267991" y="1091611"/>
            <a:ext cx="743023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4000" b="1" dirty="0" smtClean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Incubated </a:t>
            </a:r>
            <a:r>
              <a:rPr lang="en-US" altLang="en-US" sz="4000" b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Startups </a:t>
            </a:r>
          </a:p>
        </p:txBody>
      </p:sp>
    </p:spTree>
    <p:extLst>
      <p:ext uri="{BB962C8B-B14F-4D97-AF65-F5344CB8AC3E}">
        <p14:creationId xmlns:p14="http://schemas.microsoft.com/office/powerpoint/2010/main" val="1251526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162755" y="2166818"/>
            <a:ext cx="10049727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Low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n-US" alt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ahraini, GCC, and Foreign companies may avail and benefit from </a:t>
            </a:r>
            <a:r>
              <a:rPr lang="en-US" altLang="en-US" b="1" dirty="0">
                <a:solidFill>
                  <a:srgbClr val="223A5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cceleration services </a:t>
            </a:r>
            <a:r>
              <a:rPr lang="en-US" altLang="en-US" b="1" u="sng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without </a:t>
            </a:r>
            <a:r>
              <a:rPr lang="en-US" altLang="en-US" b="1" dirty="0">
                <a:solidFill>
                  <a:srgbClr val="223A5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e need to relocate or “Change Commercial Registration address”. </a:t>
            </a:r>
          </a:p>
          <a:p>
            <a:pPr marL="285750" lvl="0" indent="-285750" algn="justLow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endParaRPr kumimoji="0" lang="en-US" altLang="en-US" b="0" i="0" u="none" strike="noStrike" cap="none" normalizeH="0" baseline="0" dirty="0" smtClean="0">
              <a:ln>
                <a:noFill/>
              </a:ln>
              <a:solidFill>
                <a:srgbClr val="223A5E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lvl="0" indent="-285750" algn="justLow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n-US" alt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ll Kingdom of Bahrain Laws &amp; regulations will continue to apply to Incubated Startups.</a:t>
            </a:r>
          </a:p>
          <a:p>
            <a:pPr marL="285750" lvl="0" indent="-285750" algn="justLow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endParaRPr kumimoji="0" lang="en-US" altLang="en-US" b="0" i="0" u="none" strike="noStrike" cap="none" normalizeH="0" baseline="0" dirty="0" smtClean="0">
              <a:ln>
                <a:noFill/>
              </a:ln>
              <a:solidFill>
                <a:srgbClr val="223A5E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lvl="0" indent="-285750" algn="justLow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n-US" alt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ncubated Startups must sign a </a:t>
            </a:r>
            <a:r>
              <a:rPr lang="en-US" altLang="en-US" b="1" u="sng" dirty="0">
                <a:solidFill>
                  <a:srgbClr val="223A5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“Service Agreement” </a:t>
            </a:r>
            <a:r>
              <a:rPr lang="en-US" alt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with the Incubator. The Service Agreement must be submitted during the Commercial Registration process of the Startup</a:t>
            </a:r>
            <a:r>
              <a:rPr lang="en-US" altLang="en-US" dirty="0" smtClean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285750" lvl="0" indent="-285750" algn="justLow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endParaRPr kumimoji="0" lang="en-US" altLang="en-US" b="0" i="0" u="none" strike="noStrike" cap="none" normalizeH="0" baseline="0" dirty="0">
              <a:ln>
                <a:noFill/>
              </a:ln>
              <a:solidFill>
                <a:srgbClr val="223A5E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Low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n-US" alt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e </a:t>
            </a:r>
            <a:r>
              <a:rPr lang="en-US" altLang="en-US" b="1" dirty="0">
                <a:solidFill>
                  <a:srgbClr val="223A5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aximum incubation period </a:t>
            </a:r>
            <a:r>
              <a:rPr lang="en-US" alt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uration of a Startup under an Incubator is </a:t>
            </a:r>
            <a:r>
              <a:rPr lang="en-US" altLang="en-US" b="1" u="sng" dirty="0">
                <a:solidFill>
                  <a:srgbClr val="223A5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wo years</a:t>
            </a:r>
            <a:r>
              <a:rPr lang="en-US" alt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 An </a:t>
            </a:r>
            <a:r>
              <a:rPr lang="en-US" altLang="en-US" b="1" dirty="0">
                <a:solidFill>
                  <a:srgbClr val="223A5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xtension of another year for one time only</a:t>
            </a:r>
            <a:r>
              <a:rPr lang="en-US" alt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may be granted subject to the recommendation of the Incubator/accelerator. This extension </a:t>
            </a:r>
            <a:r>
              <a:rPr lang="en-US" altLang="en-US" b="1" dirty="0">
                <a:solidFill>
                  <a:srgbClr val="223A5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will be subject to the final approval of the SMEs Development Directorate. </a:t>
            </a:r>
            <a:endParaRPr lang="en-US" altLang="en-US" b="1" dirty="0" smtClean="0">
              <a:solidFill>
                <a:srgbClr val="223A5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Low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b="1" dirty="0" smtClean="0">
              <a:solidFill>
                <a:srgbClr val="223A5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lvl="0" indent="-285750" algn="justLow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n-US" alt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e Startups may </a:t>
            </a:r>
            <a:r>
              <a:rPr lang="en-US" altLang="en-US" b="1" dirty="0">
                <a:solidFill>
                  <a:srgbClr val="223A5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relocate</a:t>
            </a:r>
            <a:r>
              <a:rPr lang="en-US" alt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at any time, </a:t>
            </a:r>
            <a:r>
              <a:rPr lang="en-US" altLang="en-US" b="1" dirty="0">
                <a:solidFill>
                  <a:srgbClr val="223A5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o a new commercial address or to another incubator “within the remaining incubation period”</a:t>
            </a:r>
            <a:r>
              <a:rPr lang="en-US" alt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</a:p>
          <a:p>
            <a:pPr algn="justLow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b="1" dirty="0">
              <a:solidFill>
                <a:srgbClr val="223A5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344634" y="1672901"/>
            <a:ext cx="95279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2800" b="1" u="sng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Terms &amp; </a:t>
            </a:r>
            <a:r>
              <a:rPr lang="en-US" altLang="en-US" sz="2800" b="1" u="sng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Conditions</a:t>
            </a:r>
            <a:endParaRPr lang="en-US" altLang="en-US" sz="2800" b="1" u="sng" dirty="0">
              <a:solidFill>
                <a:schemeClr val="tx1">
                  <a:lumMod val="95000"/>
                  <a:lumOff val="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267991" y="1091611"/>
            <a:ext cx="743023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4000" b="1" dirty="0" smtClean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Incubated </a:t>
            </a:r>
            <a:r>
              <a:rPr lang="en-US" altLang="en-US" sz="4000" b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Startups </a:t>
            </a:r>
          </a:p>
        </p:txBody>
      </p:sp>
    </p:spTree>
    <p:extLst>
      <p:ext uri="{BB962C8B-B14F-4D97-AF65-F5344CB8AC3E}">
        <p14:creationId xmlns:p14="http://schemas.microsoft.com/office/powerpoint/2010/main" val="3226100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097280" y="2576530"/>
            <a:ext cx="9959059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Low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endParaRPr kumimoji="0" lang="en-US" altLang="en-US" b="0" i="0" u="none" strike="noStrike" cap="none" normalizeH="0" baseline="0" dirty="0" smtClean="0">
              <a:ln>
                <a:noFill/>
              </a:ln>
              <a:solidFill>
                <a:srgbClr val="223A5E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lvl="0" indent="-285750" algn="justLow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n-US" alt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ahraini owned Startups </a:t>
            </a:r>
            <a:r>
              <a:rPr lang="en-US" altLang="en-US" b="1" dirty="0">
                <a:solidFill>
                  <a:srgbClr val="223A5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ay shift to the “</a:t>
            </a:r>
            <a:r>
              <a:rPr lang="en-US" altLang="en-US" b="1" dirty="0" err="1">
                <a:solidFill>
                  <a:srgbClr val="223A5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ijili</a:t>
            </a:r>
            <a:r>
              <a:rPr lang="en-US" altLang="en-US" b="1" dirty="0">
                <a:solidFill>
                  <a:srgbClr val="223A5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” commercial registration </a:t>
            </a:r>
            <a:r>
              <a:rPr lang="en-US" alt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- provided that their activities are included in “</a:t>
            </a:r>
            <a:r>
              <a:rPr lang="en-US" altLang="en-US" dirty="0" err="1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ijili</a:t>
            </a:r>
            <a:r>
              <a:rPr lang="en-US" altLang="en-US" dirty="0" smtClean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”.</a:t>
            </a:r>
          </a:p>
          <a:p>
            <a:pPr marL="285750" lvl="0" indent="-285750" algn="justLow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endParaRPr kumimoji="0" lang="en-US" altLang="en-US" b="0" i="0" u="none" strike="noStrike" cap="none" normalizeH="0" baseline="0" dirty="0" smtClean="0">
              <a:ln>
                <a:noFill/>
              </a:ln>
              <a:solidFill>
                <a:srgbClr val="223A5E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lvl="0" indent="-285750" algn="justLow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n-US" alt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ncubated Startups, will receive a </a:t>
            </a:r>
            <a:r>
              <a:rPr lang="en-US" altLang="en-US" b="1" u="sng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iolation</a:t>
            </a:r>
            <a:r>
              <a:rPr lang="en-US" alt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b="1" dirty="0">
                <a:solidFill>
                  <a:srgbClr val="223A5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f they exceed the incubation period</a:t>
            </a:r>
            <a:r>
              <a:rPr lang="en-US" alt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endParaRPr lang="en-US" altLang="en-US" dirty="0" smtClean="0">
              <a:solidFill>
                <a:srgbClr val="223A5E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lvl="0" indent="-285750" algn="justLow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endParaRPr kumimoji="0" lang="en-US" altLang="en-US" b="0" i="0" u="none" strike="noStrike" cap="none" normalizeH="0" baseline="0" dirty="0" smtClean="0">
              <a:ln>
                <a:noFill/>
              </a:ln>
              <a:solidFill>
                <a:srgbClr val="223A5E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lvl="0" indent="-285750" algn="justLow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n-US" alt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ncubated Startups, may receive </a:t>
            </a:r>
            <a:r>
              <a:rPr lang="en-US" altLang="en-US" b="1" dirty="0">
                <a:solidFill>
                  <a:srgbClr val="223A5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 maximum of </a:t>
            </a:r>
            <a:r>
              <a:rPr lang="en-US" altLang="en-US" b="1" u="sng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wo (2) Labor </a:t>
            </a:r>
            <a:r>
              <a:rPr lang="en-US" altLang="en-US" b="1" dirty="0">
                <a:solidFill>
                  <a:srgbClr val="223A5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ermits by applying directly to the LMRA</a:t>
            </a:r>
            <a:r>
              <a:rPr lang="en-US" alt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 As with all Bahraini registered Companies, startups will be subject to random LMRA inspection</a:t>
            </a:r>
            <a:r>
              <a:rPr lang="en-US" altLang="en-US" dirty="0" smtClean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7" name="Rectangle 6"/>
          <p:cNvSpPr/>
          <p:nvPr/>
        </p:nvSpPr>
        <p:spPr>
          <a:xfrm>
            <a:off x="1312845" y="1792335"/>
            <a:ext cx="95279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2800" b="1" u="sng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Terms &amp; </a:t>
            </a:r>
            <a:r>
              <a:rPr lang="en-US" altLang="en-US" sz="2800" b="1" u="sng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Conditions</a:t>
            </a:r>
            <a:endParaRPr lang="en-US" altLang="en-US" sz="2800" b="1" u="sng" dirty="0">
              <a:solidFill>
                <a:schemeClr val="tx1">
                  <a:lumMod val="95000"/>
                  <a:lumOff val="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361689" y="1095270"/>
            <a:ext cx="743023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4000" b="1" dirty="0" smtClean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Incubated </a:t>
            </a:r>
            <a:r>
              <a:rPr lang="en-US" altLang="en-US" sz="4000" b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Startups </a:t>
            </a:r>
          </a:p>
        </p:txBody>
      </p:sp>
    </p:spTree>
    <p:extLst>
      <p:ext uri="{BB962C8B-B14F-4D97-AF65-F5344CB8AC3E}">
        <p14:creationId xmlns:p14="http://schemas.microsoft.com/office/powerpoint/2010/main" val="3302069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lobal Entrepreneurship Congress  </a:t>
            </a:r>
            <a:endParaRPr lang="ar-B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1026" name="Picture 2" descr="https://genglobal.org/sites/all/themes/wearegen/logo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338" y="2043275"/>
            <a:ext cx="4615663" cy="1482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://www.gec.co/wp-content/uploads/2018/10/GEC_BAHRAIN_201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0170" y="2043275"/>
            <a:ext cx="4126846" cy="1418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725338" y="3977089"/>
            <a:ext cx="9287219" cy="175432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dirty="0">
                <a:solidFill>
                  <a:srgbClr val="223A5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very year, the Global Entrepreneurship Congress </a:t>
            </a:r>
            <a:r>
              <a:rPr lang="en-US" dirty="0" smtClean="0">
                <a:solidFill>
                  <a:srgbClr val="223A5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athers:</a:t>
            </a:r>
          </a:p>
          <a:p>
            <a:r>
              <a:rPr lang="en-US" dirty="0" smtClean="0">
                <a:solidFill>
                  <a:srgbClr val="223A5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- entrepreneurs. </a:t>
            </a:r>
          </a:p>
          <a:p>
            <a:r>
              <a:rPr lang="en-US" dirty="0" smtClean="0">
                <a:solidFill>
                  <a:srgbClr val="223A5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- investors. </a:t>
            </a:r>
          </a:p>
          <a:p>
            <a:r>
              <a:rPr lang="en-US" dirty="0" smtClean="0">
                <a:solidFill>
                  <a:srgbClr val="223A5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- researchers. </a:t>
            </a:r>
          </a:p>
          <a:p>
            <a:r>
              <a:rPr lang="en-US" dirty="0">
                <a:solidFill>
                  <a:srgbClr val="223A5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smtClean="0">
                <a:solidFill>
                  <a:srgbClr val="223A5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policymakers. </a:t>
            </a:r>
          </a:p>
          <a:p>
            <a:r>
              <a:rPr lang="en-US" dirty="0">
                <a:solidFill>
                  <a:srgbClr val="223A5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smtClean="0">
                <a:solidFill>
                  <a:srgbClr val="223A5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startups </a:t>
            </a:r>
            <a:r>
              <a:rPr lang="en-US" dirty="0">
                <a:solidFill>
                  <a:srgbClr val="223A5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ampions from more than 170 </a:t>
            </a:r>
            <a:r>
              <a:rPr lang="en-US" dirty="0" smtClean="0">
                <a:solidFill>
                  <a:srgbClr val="223A5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untries.</a:t>
            </a:r>
            <a:endParaRPr lang="ar-BH" dirty="0">
              <a:solidFill>
                <a:srgbClr val="223A5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058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600106" y="4854876"/>
            <a:ext cx="6912768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defTabSz="914400"/>
            <a:r>
              <a:rPr lang="en-US" sz="2800" b="1" dirty="0">
                <a:solidFill>
                  <a:srgbClr val="223A5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SMEsdevelopment@moic.gov.bh</a:t>
            </a:r>
            <a:endParaRPr lang="ar-BH" sz="2800" b="1" dirty="0">
              <a:solidFill>
                <a:srgbClr val="223A5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352801" y="3183467"/>
            <a:ext cx="540737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Thank You</a:t>
            </a:r>
          </a:p>
          <a:p>
            <a:pPr algn="ctr"/>
            <a:endParaRPr lang="en-US" sz="4000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9167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2</a:t>
            </a:fld>
            <a:endParaRPr lang="en-US" dirty="0"/>
          </a:p>
        </p:txBody>
      </p:sp>
      <p:sp>
        <p:nvSpPr>
          <p:cNvPr id="82" name="TextBox 81"/>
          <p:cNvSpPr txBox="1"/>
          <p:nvPr/>
        </p:nvSpPr>
        <p:spPr>
          <a:xfrm>
            <a:off x="4018540" y="3445118"/>
            <a:ext cx="6633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SA" b="1" dirty="0" smtClean="0">
                <a:solidFill>
                  <a:schemeClr val="bg1"/>
                </a:solidFill>
              </a:rPr>
              <a:t>معاينة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1271537" y="1946310"/>
            <a:ext cx="9116292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The definition of </a:t>
            </a:r>
            <a:r>
              <a:rPr lang="en-US" sz="2000" b="1" dirty="0" smtClean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SMEs</a:t>
            </a:r>
            <a:r>
              <a:rPr lang="en-US" sz="2000" dirty="0" smtClean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?</a:t>
            </a:r>
          </a:p>
          <a:p>
            <a:pPr marL="342900" lvl="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Who </a:t>
            </a:r>
            <a:r>
              <a:rPr lang="en-US" sz="2000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can be a </a:t>
            </a:r>
            <a:r>
              <a:rPr lang="en-US" sz="2000" b="1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Startup</a:t>
            </a:r>
            <a:r>
              <a:rPr lang="en-US" sz="2000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?</a:t>
            </a:r>
            <a:endParaRPr lang="en-US" sz="2000" dirty="0">
              <a:solidFill>
                <a:srgbClr val="223A5E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What are the </a:t>
            </a:r>
            <a:r>
              <a:rPr lang="en-US" sz="2000" b="1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definitions</a:t>
            </a:r>
            <a:r>
              <a:rPr lang="en-US" sz="2000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of Incubation and Accelerators?</a:t>
            </a:r>
            <a:endParaRPr lang="en-US" sz="2000" dirty="0">
              <a:solidFill>
                <a:srgbClr val="223A5E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What are the </a:t>
            </a:r>
            <a:r>
              <a:rPr lang="en-US" sz="2000" b="1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differences </a:t>
            </a:r>
            <a:r>
              <a:rPr lang="en-US" sz="2000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between Business Incubators and Business Centers?</a:t>
            </a:r>
            <a:endParaRPr lang="en-US" sz="2000" dirty="0">
              <a:solidFill>
                <a:srgbClr val="223A5E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What kind of </a:t>
            </a:r>
            <a:r>
              <a:rPr lang="en-US" sz="2000" b="1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services</a:t>
            </a:r>
            <a:r>
              <a:rPr lang="en-US" sz="2000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does Business Incubators/Accelerators and </a:t>
            </a:r>
            <a:r>
              <a:rPr lang="en-US" sz="2000" dirty="0" smtClean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Business</a:t>
            </a:r>
          </a:p>
          <a:p>
            <a:pPr lvl="0" algn="just">
              <a:lnSpc>
                <a:spcPct val="150000"/>
              </a:lnSpc>
              <a:spcAft>
                <a:spcPts val="0"/>
              </a:spcAft>
            </a:pPr>
            <a:r>
              <a:rPr lang="en-US" sz="2000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000" dirty="0" smtClean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   </a:t>
            </a:r>
            <a:r>
              <a:rPr lang="en-US" sz="2000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Center provides?</a:t>
            </a:r>
            <a:endParaRPr lang="en-US" sz="2000" dirty="0">
              <a:solidFill>
                <a:srgbClr val="223A5E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223A5E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Arial" panose="020B0604020202020204" pitchFamily="34" charset="0"/>
              </a:rPr>
              <a:t>The Terms and Conditions</a:t>
            </a:r>
            <a:r>
              <a:rPr lang="en-US" sz="2000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of the </a:t>
            </a:r>
            <a:r>
              <a:rPr lang="en-US" sz="2000" b="1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Incubated Startups</a:t>
            </a:r>
            <a:r>
              <a:rPr lang="en-US" sz="2000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?</a:t>
            </a:r>
            <a:endParaRPr lang="en-US" sz="2000" dirty="0">
              <a:solidFill>
                <a:srgbClr val="223A5E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Success Stories</a:t>
            </a:r>
            <a:r>
              <a:rPr lang="en-US" sz="2000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from Business Incubators/Accelerators</a:t>
            </a:r>
            <a:r>
              <a:rPr lang="en-US" sz="2000" dirty="0" smtClean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?</a:t>
            </a:r>
            <a:endParaRPr lang="en-US" sz="2000" dirty="0">
              <a:solidFill>
                <a:srgbClr val="223A5E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99555" y="802988"/>
            <a:ext cx="44929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 smtClean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Topics</a:t>
            </a:r>
            <a:endParaRPr lang="en-US" sz="4800" b="1" dirty="0">
              <a:solidFill>
                <a:schemeClr val="bg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0880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3</a:t>
            </a:fld>
            <a:endParaRPr lang="en-US" dirty="0"/>
          </a:p>
        </p:txBody>
      </p:sp>
      <p:sp>
        <p:nvSpPr>
          <p:cNvPr id="82" name="TextBox 81"/>
          <p:cNvSpPr txBox="1"/>
          <p:nvPr/>
        </p:nvSpPr>
        <p:spPr>
          <a:xfrm>
            <a:off x="4018540" y="3445118"/>
            <a:ext cx="6633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SA" b="1" dirty="0" smtClean="0">
                <a:solidFill>
                  <a:schemeClr val="bg1"/>
                </a:solidFill>
              </a:rPr>
              <a:t>معاينة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924504" y="1164988"/>
            <a:ext cx="6264696" cy="864096"/>
          </a:xfrm>
        </p:spPr>
        <p:txBody>
          <a:bodyPr>
            <a:noAutofit/>
          </a:bodyPr>
          <a:lstStyle/>
          <a:p>
            <a:pPr marL="82296" indent="0" algn="ctr">
              <a:buNone/>
            </a:pPr>
            <a:r>
              <a:rPr lang="en-US" sz="4000" b="1" dirty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SMEs </a:t>
            </a:r>
            <a:r>
              <a:rPr lang="en-US" sz="4000" b="1" dirty="0" smtClean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definition</a:t>
            </a:r>
            <a:endParaRPr lang="en-US" sz="4000" b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Group 92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1451218"/>
              </p:ext>
            </p:extLst>
          </p:nvPr>
        </p:nvGraphicFramePr>
        <p:xfrm>
          <a:off x="1207911" y="2901141"/>
          <a:ext cx="10004571" cy="2880320"/>
        </p:xfrm>
        <a:graphic>
          <a:graphicData uri="http://schemas.openxmlformats.org/drawingml/2006/table">
            <a:tbl>
              <a:tblPr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tableStyleId>{18603FDC-E32A-4AB5-989C-0864C3EAD2B8}</a:tableStyleId>
              </a:tblPr>
              <a:tblGrid>
                <a:gridCol w="312090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5410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1980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40975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837112"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en-US" sz="2000" b="1" u="none" kern="1200" dirty="0" smtClean="0">
                          <a:solidFill>
                            <a:srgbClr val="223A5E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tegory</a:t>
                      </a:r>
                      <a:endParaRPr lang="en-US" altLang="en-US" sz="2000" b="1" u="none" kern="1200" dirty="0" smtClean="0">
                        <a:solidFill>
                          <a:srgbClr val="223A5E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3296" marR="93296" marT="46649" marB="46649" anchor="ctr" horzOverflow="overflow">
                    <a:lnL w="127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000" b="1" u="none" kern="1200" dirty="0" smtClean="0">
                          <a:solidFill>
                            <a:srgbClr val="223A5E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icro</a:t>
                      </a:r>
                      <a:endParaRPr lang="en-US" sz="2000" b="1" u="none" kern="1200" dirty="0" smtClean="0">
                        <a:solidFill>
                          <a:srgbClr val="223A5E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000" b="1" u="none" kern="1200" dirty="0" smtClean="0">
                          <a:solidFill>
                            <a:srgbClr val="223A5E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mall</a:t>
                      </a:r>
                      <a:endParaRPr lang="ar-SA" sz="2000" b="1" u="none" kern="1200" dirty="0" smtClean="0">
                        <a:solidFill>
                          <a:srgbClr val="223A5E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000" b="1" u="none" kern="1200" dirty="0" smtClean="0">
                          <a:solidFill>
                            <a:srgbClr val="223A5E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edium</a:t>
                      </a:r>
                      <a:endParaRPr lang="ar-SA" sz="2000" b="1" u="none" kern="1200" dirty="0" smtClean="0">
                        <a:solidFill>
                          <a:srgbClr val="223A5E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060824">
                <a:tc>
                  <a:txBody>
                    <a:bodyPr/>
                    <a:lstStyle/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2000" u="none" kern="1200" dirty="0" smtClean="0">
                        <a:solidFill>
                          <a:srgbClr val="223A5E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000" b="1" u="none" kern="1200" dirty="0" smtClean="0">
                          <a:solidFill>
                            <a:srgbClr val="223A5E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umber of Employees</a:t>
                      </a:r>
                      <a:endParaRPr lang="ar-SA" sz="2000" b="1" u="none" kern="1200" dirty="0" smtClean="0">
                        <a:solidFill>
                          <a:srgbClr val="223A5E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2000" b="1" u="none" kern="1200" dirty="0">
                        <a:solidFill>
                          <a:srgbClr val="223A5E"/>
                        </a:solidFill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000" u="none" kern="1200" dirty="0" smtClean="0">
                          <a:solidFill>
                            <a:srgbClr val="223A5E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</a:t>
                      </a:r>
                      <a:r>
                        <a:rPr lang="en-US" sz="2000" u="none" kern="1200" dirty="0">
                          <a:solidFill>
                            <a:srgbClr val="223A5E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o 5</a:t>
                      </a:r>
                      <a:endParaRPr lang="en-US" sz="2000" u="none" kern="1200" dirty="0">
                        <a:solidFill>
                          <a:srgbClr val="223A5E"/>
                        </a:solidFill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000" u="none" kern="1200" dirty="0" smtClean="0">
                          <a:solidFill>
                            <a:srgbClr val="223A5E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 </a:t>
                      </a:r>
                      <a:r>
                        <a:rPr lang="en-US" sz="2000" u="none" kern="1200" dirty="0">
                          <a:solidFill>
                            <a:srgbClr val="223A5E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o 50</a:t>
                      </a:r>
                      <a:endParaRPr lang="en-US" sz="2000" u="none" kern="1200" dirty="0">
                        <a:solidFill>
                          <a:srgbClr val="223A5E"/>
                        </a:solidFill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000" u="none" kern="1200" dirty="0" smtClean="0">
                          <a:solidFill>
                            <a:srgbClr val="223A5E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1 </a:t>
                      </a:r>
                      <a:r>
                        <a:rPr lang="en-US" sz="2000" u="none" kern="1200" dirty="0">
                          <a:solidFill>
                            <a:srgbClr val="223A5E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o 100</a:t>
                      </a:r>
                      <a:endParaRPr lang="en-US" sz="2000" u="none" kern="1200" dirty="0">
                        <a:solidFill>
                          <a:srgbClr val="223A5E"/>
                        </a:solidFill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82384">
                <a:tc>
                  <a:txBody>
                    <a:bodyPr/>
                    <a:lstStyle/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en-US" sz="2000" u="none" kern="1200" dirty="0" smtClean="0">
                        <a:solidFill>
                          <a:srgbClr val="223A5E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000" b="1" u="none" kern="1200" dirty="0" smtClean="0">
                          <a:solidFill>
                            <a:srgbClr val="223A5E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nnual Turnover(BD)</a:t>
                      </a:r>
                      <a:endParaRPr lang="ar-SA" sz="2000" b="1" u="none" kern="1200" dirty="0" smtClean="0">
                        <a:solidFill>
                          <a:srgbClr val="223A5E"/>
                        </a:solidFill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000" u="none" kern="1200" dirty="0" smtClean="0">
                          <a:solidFill>
                            <a:srgbClr val="223A5E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-50,000 BD</a:t>
                      </a:r>
                      <a:endParaRPr lang="en-US" sz="2000" u="none" kern="1200" dirty="0">
                        <a:solidFill>
                          <a:srgbClr val="223A5E"/>
                        </a:solidFill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000" u="none" kern="1200" dirty="0" smtClean="0">
                          <a:solidFill>
                            <a:srgbClr val="223A5E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,001 – 1 M</a:t>
                      </a:r>
                      <a:endParaRPr lang="en-US" sz="2000" u="none" kern="1200" dirty="0">
                        <a:solidFill>
                          <a:srgbClr val="223A5E"/>
                        </a:solidFill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000" u="none" kern="1200" dirty="0" smtClean="0">
                          <a:solidFill>
                            <a:srgbClr val="223A5E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000,001 – 3 M</a:t>
                      </a:r>
                      <a:endParaRPr lang="en-US" sz="2000" u="none" kern="1200" dirty="0">
                        <a:solidFill>
                          <a:srgbClr val="223A5E"/>
                        </a:solidFill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pic>
        <p:nvPicPr>
          <p:cNvPr id="7" name="Graphic 5">
            <a:extLst>
              <a:ext uri="{FF2B5EF4-FFF2-40B4-BE49-F238E27FC236}">
                <a16:creationId xmlns:a16="http://schemas.microsoft.com/office/drawing/2014/main" xmlns="" id="{C7DD88F0-3D14-4355-8726-C3E9FB5490F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415713" y="2541252"/>
            <a:ext cx="729831" cy="568839"/>
          </a:xfrm>
          <a:prstGeom prst="rect">
            <a:avLst/>
          </a:prstGeom>
        </p:spPr>
      </p:pic>
      <p:pic>
        <p:nvPicPr>
          <p:cNvPr id="8" name="Graphic 5">
            <a:extLst>
              <a:ext uri="{FF2B5EF4-FFF2-40B4-BE49-F238E27FC236}">
                <a16:creationId xmlns:a16="http://schemas.microsoft.com/office/drawing/2014/main" xmlns="" id="{C7DD88F0-3D14-4355-8726-C3E9FB5490F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68373" y="2351017"/>
            <a:ext cx="1040818" cy="811226"/>
          </a:xfrm>
          <a:prstGeom prst="rect">
            <a:avLst/>
          </a:prstGeom>
        </p:spPr>
      </p:pic>
      <p:pic>
        <p:nvPicPr>
          <p:cNvPr id="9" name="Graphic 5">
            <a:extLst>
              <a:ext uri="{FF2B5EF4-FFF2-40B4-BE49-F238E27FC236}">
                <a16:creationId xmlns:a16="http://schemas.microsoft.com/office/drawing/2014/main" xmlns="" id="{C7DD88F0-3D14-4355-8726-C3E9FB5490F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856005" y="1968137"/>
            <a:ext cx="1706476" cy="1330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286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4</a:t>
            </a:fld>
            <a:endParaRPr lang="en-US" dirty="0"/>
          </a:p>
        </p:txBody>
      </p:sp>
      <p:sp>
        <p:nvSpPr>
          <p:cNvPr id="82" name="TextBox 81"/>
          <p:cNvSpPr txBox="1"/>
          <p:nvPr/>
        </p:nvSpPr>
        <p:spPr>
          <a:xfrm>
            <a:off x="4018540" y="3445118"/>
            <a:ext cx="6633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SA" b="1" dirty="0" smtClean="0">
                <a:solidFill>
                  <a:schemeClr val="bg1"/>
                </a:solidFill>
              </a:rPr>
              <a:t>معاينة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499759" y="1078693"/>
            <a:ext cx="92132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400"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4000" b="1" dirty="0" smtClean="0">
                <a:solidFill>
                  <a:schemeClr val="bg2">
                    <a:lumMod val="50000"/>
                  </a:schemeClr>
                </a:solidFill>
              </a:rPr>
              <a:t>Entrepreneurs </a:t>
            </a:r>
            <a:endParaRPr lang="en-US" sz="40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688515" y="2261562"/>
            <a:ext cx="15655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223A5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DEA</a:t>
            </a:r>
            <a:endParaRPr lang="en-US" b="1" dirty="0">
              <a:solidFill>
                <a:srgbClr val="223A5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334999" y="3906108"/>
            <a:ext cx="21474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rgbClr val="223A5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NOVATIVE</a:t>
            </a:r>
            <a:endParaRPr lang="en-US" sz="2000" b="1" dirty="0">
              <a:solidFill>
                <a:srgbClr val="223A5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334999" y="5604334"/>
            <a:ext cx="21012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rgbClr val="223A5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JOB CREATION</a:t>
            </a:r>
            <a:endParaRPr lang="en-US" sz="2000" b="1" dirty="0">
              <a:solidFill>
                <a:srgbClr val="223A5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410972" y="2276951"/>
            <a:ext cx="217061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rgbClr val="223A5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IME MANAGEMENT</a:t>
            </a:r>
            <a:endParaRPr lang="en-US" sz="2000" b="1" dirty="0">
              <a:solidFill>
                <a:srgbClr val="223A5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063624" y="5604334"/>
            <a:ext cx="20920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223A5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TWORKING</a:t>
            </a:r>
            <a:endParaRPr lang="en-US" sz="2000" b="1" dirty="0">
              <a:solidFill>
                <a:srgbClr val="223A5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258201" y="4306218"/>
            <a:ext cx="20920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223A5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ISK TAKER </a:t>
            </a:r>
            <a:endParaRPr lang="en-US" sz="2000" b="1" dirty="0">
              <a:solidFill>
                <a:srgbClr val="223A5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837041" y="2587311"/>
            <a:ext cx="2438400" cy="243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299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2049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5334" y="1772356"/>
            <a:ext cx="10027150" cy="4504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2495495" y="1064470"/>
            <a:ext cx="72010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4000" b="1" dirty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Incubation Management system</a:t>
            </a:r>
          </a:p>
        </p:txBody>
      </p:sp>
    </p:spTree>
    <p:extLst>
      <p:ext uri="{BB962C8B-B14F-4D97-AF65-F5344CB8AC3E}">
        <p14:creationId xmlns:p14="http://schemas.microsoft.com/office/powerpoint/2010/main" val="1998660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6</a:t>
            </a:fld>
            <a:endParaRPr lang="en-US" dirty="0"/>
          </a:p>
        </p:txBody>
      </p:sp>
      <p:sp>
        <p:nvSpPr>
          <p:cNvPr id="82" name="TextBox 81"/>
          <p:cNvSpPr txBox="1"/>
          <p:nvPr/>
        </p:nvSpPr>
        <p:spPr>
          <a:xfrm>
            <a:off x="4018540" y="3445118"/>
            <a:ext cx="6633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SA" b="1" dirty="0" smtClean="0">
                <a:solidFill>
                  <a:schemeClr val="bg1"/>
                </a:solidFill>
              </a:rPr>
              <a:t>معاينة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1151467" y="2900733"/>
            <a:ext cx="1006101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400"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algn="just"/>
            <a:r>
              <a:rPr lang="en-US" sz="2200" dirty="0">
                <a:solidFill>
                  <a:srgbClr val="223A5E"/>
                </a:solidFill>
              </a:rPr>
              <a:t>Is a company that helps new Entrepreneurs and </a:t>
            </a:r>
            <a:r>
              <a:rPr lang="en-US" sz="2200" dirty="0" smtClean="0">
                <a:solidFill>
                  <a:srgbClr val="223A5E"/>
                </a:solidFill>
              </a:rPr>
              <a:t>startup </a:t>
            </a:r>
            <a:r>
              <a:rPr lang="en-US" sz="2200" dirty="0">
                <a:solidFill>
                  <a:srgbClr val="223A5E"/>
                </a:solidFill>
              </a:rPr>
              <a:t>companies to develop by providing services such as management training and office space.</a:t>
            </a:r>
          </a:p>
          <a:p>
            <a:pPr algn="just"/>
            <a:endParaRPr lang="en-US" sz="2200" dirty="0">
              <a:solidFill>
                <a:srgbClr val="223A5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100667" y="5035552"/>
            <a:ext cx="1016261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200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A program that gives developing companies access to mentorship, investors and other support that help them become stable, self-sufficient </a:t>
            </a:r>
            <a:r>
              <a:rPr lang="en-US" sz="2200" dirty="0" smtClean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businesses</a:t>
            </a:r>
            <a:r>
              <a:rPr lang="en-US" sz="2200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417685" y="1068413"/>
            <a:ext cx="1016261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D</a:t>
            </a:r>
            <a:r>
              <a:rPr lang="en-US" sz="4000" b="1" dirty="0" smtClean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efinitions</a:t>
            </a:r>
            <a:r>
              <a:rPr lang="en-US" sz="4000" b="1" dirty="0" smtClean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4000" b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of </a:t>
            </a:r>
            <a:r>
              <a:rPr lang="en-US" sz="4000" b="1" dirty="0" smtClean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Incubators </a:t>
            </a:r>
            <a:r>
              <a:rPr lang="en-US" sz="4000" b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and </a:t>
            </a:r>
            <a:r>
              <a:rPr lang="en-US" sz="4000" b="1" dirty="0" smtClean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Accelerators</a:t>
            </a:r>
            <a:endParaRPr lang="en-US" sz="4000" b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302243" y="1692184"/>
            <a:ext cx="33527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solidFill>
                  <a:srgbClr val="223A5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Incubators</a:t>
            </a:r>
            <a:endParaRPr lang="en-US" sz="3600" b="1" dirty="0">
              <a:solidFill>
                <a:srgbClr val="223A5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558060" y="3950828"/>
            <a:ext cx="28411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solidFill>
                  <a:srgbClr val="223A5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Accelerators</a:t>
            </a:r>
            <a:endParaRPr lang="en-US" sz="3600" b="1" dirty="0">
              <a:solidFill>
                <a:srgbClr val="223A5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Straight Connector 2"/>
          <p:cNvCxnSpPr/>
          <p:nvPr/>
        </p:nvCxnSpPr>
        <p:spPr>
          <a:xfrm>
            <a:off x="1151467" y="3927556"/>
            <a:ext cx="10061016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7" name="Rounded Rectangle 16"/>
          <p:cNvSpPr/>
          <p:nvPr/>
        </p:nvSpPr>
        <p:spPr>
          <a:xfrm>
            <a:off x="4558060" y="2311784"/>
            <a:ext cx="3005496" cy="419074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CR </a:t>
            </a:r>
            <a:r>
              <a:rPr lang="en-US" sz="1600" b="1" u="sng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Less than </a:t>
            </a:r>
            <a:r>
              <a:rPr lang="en-US" sz="1600" b="1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2 Months</a:t>
            </a:r>
            <a:endParaRPr lang="en-US" sz="1600" dirty="0">
              <a:solidFill>
                <a:schemeClr val="tx1">
                  <a:lumMod val="95000"/>
                  <a:lumOff val="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4558060" y="4627221"/>
            <a:ext cx="3005496" cy="408178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tx1">
                  <a:lumMod val="95000"/>
                  <a:lumOff val="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en-US" sz="1600" b="1" dirty="0">
              <a:solidFill>
                <a:schemeClr val="tx1">
                  <a:lumMod val="95000"/>
                  <a:lumOff val="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sz="1600" b="1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CR </a:t>
            </a:r>
            <a:r>
              <a:rPr lang="en-US" sz="1600" b="1" u="sng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More than </a:t>
            </a:r>
            <a:r>
              <a:rPr lang="en-US" sz="1600" b="1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2 Months</a:t>
            </a:r>
          </a:p>
          <a:p>
            <a:pPr algn="ctr"/>
            <a:endParaRPr lang="en-US" sz="1600" b="1" dirty="0">
              <a:solidFill>
                <a:schemeClr val="tx1">
                  <a:lumMod val="95000"/>
                  <a:lumOff val="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en-US" sz="1600" b="1" dirty="0">
              <a:solidFill>
                <a:schemeClr val="tx1">
                  <a:lumMod val="95000"/>
                  <a:lumOff val="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3938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7</a:t>
            </a:fld>
            <a:endParaRPr lang="en-US" dirty="0"/>
          </a:p>
        </p:txBody>
      </p:sp>
      <p:sp>
        <p:nvSpPr>
          <p:cNvPr id="82" name="TextBox 81"/>
          <p:cNvSpPr txBox="1"/>
          <p:nvPr/>
        </p:nvSpPr>
        <p:spPr>
          <a:xfrm>
            <a:off x="4018540" y="3445118"/>
            <a:ext cx="6633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SA" b="1" dirty="0" smtClean="0">
                <a:solidFill>
                  <a:schemeClr val="bg1"/>
                </a:solidFill>
              </a:rPr>
              <a:t>معاينة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617233" y="917359"/>
            <a:ext cx="1219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223A5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artups</a:t>
            </a:r>
            <a:endParaRPr lang="en-US" sz="2000" b="1" dirty="0">
              <a:solidFill>
                <a:srgbClr val="223A5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0489" y="1721888"/>
            <a:ext cx="9889067" cy="4563370"/>
          </a:xfrm>
          <a:prstGeom prst="rect">
            <a:avLst/>
          </a:prstGeom>
        </p:spPr>
      </p:pic>
      <p:cxnSp>
        <p:nvCxnSpPr>
          <p:cNvPr id="7" name="Elbow Connector 6"/>
          <p:cNvCxnSpPr/>
          <p:nvPr/>
        </p:nvCxnSpPr>
        <p:spPr>
          <a:xfrm rot="5400000">
            <a:off x="5235939" y="3127423"/>
            <a:ext cx="3806175" cy="352355"/>
          </a:xfrm>
          <a:prstGeom prst="bentConnector3">
            <a:avLst/>
          </a:prstGeom>
          <a:ln w="76200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5870270" y="5600074"/>
            <a:ext cx="969821" cy="49876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ln w="0"/>
                <a:solidFill>
                  <a:srgbClr val="223A5E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ne Address</a:t>
            </a:r>
            <a:endParaRPr lang="en-US" sz="1400" b="1" dirty="0">
              <a:ln w="0"/>
              <a:solidFill>
                <a:srgbClr val="223A5E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740784" y="5695566"/>
            <a:ext cx="2378885" cy="30777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400" b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2000" dirty="0">
                <a:solidFill>
                  <a:srgbClr val="223A5E"/>
                </a:solidFill>
              </a:rPr>
              <a:t>For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000" dirty="0">
                <a:solidFill>
                  <a:srgbClr val="FFFF00"/>
                </a:solidFill>
              </a:rPr>
              <a:t>Two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000" dirty="0">
                <a:solidFill>
                  <a:srgbClr val="223A5E"/>
                </a:solidFill>
              </a:rPr>
              <a:t>years</a:t>
            </a:r>
          </a:p>
        </p:txBody>
      </p:sp>
      <p:cxnSp>
        <p:nvCxnSpPr>
          <p:cNvPr id="17" name="Elbow Connector 16"/>
          <p:cNvCxnSpPr>
            <a:stCxn id="5" idx="2"/>
          </p:cNvCxnSpPr>
          <p:nvPr/>
        </p:nvCxnSpPr>
        <p:spPr>
          <a:xfrm rot="5400000">
            <a:off x="1994234" y="2314142"/>
            <a:ext cx="2229273" cy="235927"/>
          </a:xfrm>
          <a:prstGeom prst="bentConnector3">
            <a:avLst/>
          </a:prstGeom>
          <a:ln w="76200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6421585" y="1000403"/>
            <a:ext cx="17872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223A5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cubator</a:t>
            </a:r>
            <a:endParaRPr lang="en-US" sz="2000" b="1" dirty="0">
              <a:solidFill>
                <a:srgbClr val="223A5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6703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8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493706" y="2550820"/>
            <a:ext cx="3833153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pace with IT infrastructure</a:t>
            </a:r>
            <a:r>
              <a:rPr lang="en-US" dirty="0" smtClean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Facilitate access to financ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ssist in Business Planning</a:t>
            </a:r>
            <a:endParaRPr lang="en-US" dirty="0">
              <a:solidFill>
                <a:srgbClr val="223A5E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anagement skil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ssist in Marketing  and </a:t>
            </a:r>
            <a:r>
              <a:rPr lang="en-US" dirty="0" smtClean="0">
                <a:solidFill>
                  <a:srgbClr val="223A5E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promotional activit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etworking activiti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eeting Room</a:t>
            </a:r>
            <a:endParaRPr lang="en-US" dirty="0">
              <a:solidFill>
                <a:srgbClr val="223A5E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usiness guidance &amp; counsel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Other Trainings according to the </a:t>
            </a:r>
            <a:r>
              <a:rPr lang="en-US" dirty="0" smtClean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eed </a:t>
            </a:r>
            <a:r>
              <a:rPr 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of startups.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>
              <a:solidFill>
                <a:srgbClr val="223A5E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>
              <a:solidFill>
                <a:srgbClr val="223A5E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solidFill>
                <a:srgbClr val="223A5E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027289" y="565229"/>
            <a:ext cx="10464800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 smtClean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Services</a:t>
            </a:r>
            <a:r>
              <a:rPr lang="en-US" sz="4000" dirty="0" smtClean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600" b="1" dirty="0" smtClean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of Business </a:t>
            </a:r>
            <a:r>
              <a:rPr lang="en-US" sz="3600" b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Incubators/Accelerators and Business Center </a:t>
            </a:r>
            <a:r>
              <a:rPr lang="en-US" sz="3600" b="1" dirty="0" smtClean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provides</a:t>
            </a:r>
            <a:endParaRPr lang="en-US" sz="3600" b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827360" y="1786760"/>
            <a:ext cx="18614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u="sng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Incubators</a:t>
            </a:r>
          </a:p>
        </p:txBody>
      </p:sp>
      <p:sp>
        <p:nvSpPr>
          <p:cNvPr id="8" name="Rectangle 7"/>
          <p:cNvSpPr/>
          <p:nvPr/>
        </p:nvSpPr>
        <p:spPr>
          <a:xfrm>
            <a:off x="4446936" y="2550820"/>
            <a:ext cx="4268990" cy="32778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Funding and Identification of </a:t>
            </a:r>
            <a:r>
              <a:rPr lang="en-US" dirty="0" smtClean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ossible Investors.</a:t>
            </a:r>
            <a:endParaRPr lang="en-US" dirty="0">
              <a:solidFill>
                <a:srgbClr val="223A5E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usiness guidance &amp; counseling</a:t>
            </a:r>
          </a:p>
          <a:p>
            <a:pPr marL="342900" lvl="0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stablishment of Marketing strategy</a:t>
            </a:r>
          </a:p>
          <a:p>
            <a:pPr marL="342900" lvl="0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Other Trainings according to the need </a:t>
            </a:r>
            <a:r>
              <a:rPr lang="en-US" dirty="0" smtClean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of the company.</a:t>
            </a:r>
            <a:endParaRPr lang="en-US" dirty="0">
              <a:solidFill>
                <a:srgbClr val="223A5E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stablishment of Financial Strategy</a:t>
            </a:r>
          </a:p>
          <a:p>
            <a:pPr marL="342900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etworking activities</a:t>
            </a:r>
          </a:p>
          <a:p>
            <a:pPr marL="342900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T facilities </a:t>
            </a:r>
            <a:endParaRPr lang="en-US" dirty="0" smtClean="0">
              <a:solidFill>
                <a:srgbClr val="223A5E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eeting Room.</a:t>
            </a:r>
            <a:endParaRPr lang="en-US" dirty="0">
              <a:solidFill>
                <a:srgbClr val="223A5E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831987" y="1786760"/>
            <a:ext cx="22044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u="sng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Accelerators </a:t>
            </a:r>
          </a:p>
        </p:txBody>
      </p:sp>
      <p:sp>
        <p:nvSpPr>
          <p:cNvPr id="10" name="Rectangle 9"/>
          <p:cNvSpPr/>
          <p:nvPr/>
        </p:nvSpPr>
        <p:spPr>
          <a:xfrm>
            <a:off x="8920820" y="1736483"/>
            <a:ext cx="27301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u="sng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Business Center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940933" y="2550820"/>
            <a:ext cx="328352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pac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T infrastructur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Recep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eeting Room.</a:t>
            </a:r>
          </a:p>
          <a:p>
            <a:endParaRPr lang="en-US" dirty="0">
              <a:solidFill>
                <a:srgbClr val="223A5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" name="Straight Connector 2"/>
          <p:cNvCxnSpPr/>
          <p:nvPr/>
        </p:nvCxnSpPr>
        <p:spPr>
          <a:xfrm>
            <a:off x="4334933" y="1888668"/>
            <a:ext cx="22578" cy="4078472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8798278" y="1888668"/>
            <a:ext cx="22578" cy="4078472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4758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9</a:t>
            </a:fld>
            <a:endParaRPr lang="en-US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699911" y="2240442"/>
            <a:ext cx="10512572" cy="1200329"/>
          </a:xfrm>
          <a:prstGeom prst="rect">
            <a:avLst/>
          </a:prstGeom>
          <a:noFill/>
          <a:extLst/>
        </p:spPr>
        <p:txBody>
          <a:bodyPr wrap="square" rtlCol="0">
            <a:spAutoFit/>
          </a:bodyPr>
          <a:lstStyle/>
          <a:p>
            <a:pPr algn="ctr"/>
            <a:endParaRPr lang="en-US" altLang="en-US" sz="2400" b="1" dirty="0">
              <a:solidFill>
                <a:srgbClr val="223A5E"/>
              </a:solidFill>
              <a:latin typeface="Times New Roman" panose="020206030504050203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altLang="en-US" sz="2400" dirty="0" smtClean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    A </a:t>
            </a:r>
            <a:r>
              <a:rPr lang="en-US" altLang="en-US" sz="2400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startup businesses is defined as the enterprise or a company in its first </a:t>
            </a:r>
            <a:r>
              <a:rPr lang="en-US" altLang="en-US" sz="2400" dirty="0" smtClean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stage of operations</a:t>
            </a:r>
            <a:r>
              <a:rPr lang="en-US" altLang="en-US" sz="2400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, and being hosted in an incubator.</a:t>
            </a:r>
          </a:p>
        </p:txBody>
      </p:sp>
      <p:sp>
        <p:nvSpPr>
          <p:cNvPr id="2" name="Rectangle 1"/>
          <p:cNvSpPr/>
          <p:nvPr/>
        </p:nvSpPr>
        <p:spPr>
          <a:xfrm>
            <a:off x="2267991" y="1147429"/>
            <a:ext cx="743023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4000" b="1" dirty="0" smtClean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Incubated </a:t>
            </a:r>
            <a:r>
              <a:rPr lang="en-US" altLang="en-US" sz="4000" b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Startups </a:t>
            </a:r>
          </a:p>
        </p:txBody>
      </p:sp>
      <p:sp>
        <p:nvSpPr>
          <p:cNvPr id="6" name="Rectangle 5"/>
          <p:cNvSpPr/>
          <p:nvPr/>
        </p:nvSpPr>
        <p:spPr>
          <a:xfrm>
            <a:off x="1444977" y="3773192"/>
            <a:ext cx="87828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2800" b="1" u="sng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Terms &amp; Conditions </a:t>
            </a:r>
            <a:r>
              <a:rPr lang="en-US" altLang="en-US" sz="2800" b="1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of Incubated Startups</a:t>
            </a:r>
          </a:p>
        </p:txBody>
      </p:sp>
      <p:sp>
        <p:nvSpPr>
          <p:cNvPr id="7" name="Rectangle 6"/>
          <p:cNvSpPr/>
          <p:nvPr/>
        </p:nvSpPr>
        <p:spPr>
          <a:xfrm>
            <a:off x="1741104" y="4674471"/>
            <a:ext cx="9934223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Low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n-US" altLang="en-US" dirty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R</a:t>
            </a:r>
            <a:r>
              <a:rPr lang="en-US" altLang="en-US" dirty="0" smtClean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gistered as an </a:t>
            </a:r>
            <a:r>
              <a:rPr lang="en-US" altLang="en-US" b="1" dirty="0" smtClean="0">
                <a:solidFill>
                  <a:srgbClr val="223A5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ndividual enterprise </a:t>
            </a:r>
            <a:r>
              <a:rPr lang="en-US" altLang="en-US" dirty="0" smtClean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or </a:t>
            </a:r>
            <a:r>
              <a:rPr lang="en-US" altLang="en-US" b="1" dirty="0" smtClean="0">
                <a:solidFill>
                  <a:srgbClr val="223A5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ompany Commercial Registrations</a:t>
            </a:r>
          </a:p>
          <a:p>
            <a:pPr marL="285750" indent="-285750" algn="justLow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endParaRPr lang="en-US" altLang="en-US" dirty="0" smtClean="0">
              <a:solidFill>
                <a:srgbClr val="223A5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Low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n-US" altLang="en-US" b="1" dirty="0" smtClean="0">
                <a:solidFill>
                  <a:srgbClr val="223A5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tandard Foreign Ownership </a:t>
            </a:r>
            <a:r>
              <a:rPr lang="en-US" altLang="en-US" dirty="0" smtClean="0">
                <a:solidFill>
                  <a:srgbClr val="223A5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rules will apply to Start-ups.</a:t>
            </a:r>
          </a:p>
          <a:p>
            <a:pPr marL="285750" indent="-285750" algn="justLow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endParaRPr lang="en-US" altLang="en-US" dirty="0" smtClean="0">
              <a:solidFill>
                <a:srgbClr val="223A5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Low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endParaRPr lang="en-US" altLang="en-US" dirty="0" smtClean="0">
              <a:solidFill>
                <a:srgbClr val="223A5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122137" y="1888281"/>
            <a:ext cx="17219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2800" b="1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Definition</a:t>
            </a:r>
            <a:endParaRPr lang="en-US" sz="2800" b="1" dirty="0">
              <a:solidFill>
                <a:schemeClr val="tx1">
                  <a:lumMod val="95000"/>
                  <a:lumOff val="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1793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JNJPYPpEGhXKeAM4B5jA"/>
</p:tagLst>
</file>

<file path=ppt/theme/theme1.xml><?xml version="1.0" encoding="utf-8"?>
<a:theme xmlns:a="http://schemas.openxmlformats.org/drawingml/2006/main" name="Retrospect">
  <a:themeElements>
    <a:clrScheme name="Custom 2">
      <a:dk1>
        <a:sysClr val="windowText" lastClr="000000"/>
      </a:dk1>
      <a:lt1>
        <a:sysClr val="window" lastClr="FFFFFF"/>
      </a:lt1>
      <a:dk2>
        <a:srgbClr val="37302A"/>
      </a:dk2>
      <a:lt2>
        <a:srgbClr val="D0CCB9"/>
      </a:lt2>
      <a:accent1>
        <a:srgbClr val="C00000"/>
      </a:accent1>
      <a:accent2>
        <a:srgbClr val="A09781"/>
      </a:accent2>
      <a:accent3>
        <a:srgbClr val="85776D"/>
      </a:accent3>
      <a:accent4>
        <a:srgbClr val="AEAFA9"/>
      </a:accent4>
      <a:accent5>
        <a:srgbClr val="8D878B"/>
      </a:accent5>
      <a:accent6>
        <a:srgbClr val="6B6149"/>
      </a:accent6>
      <a:hlink>
        <a:srgbClr val="B6A272"/>
      </a:hlink>
      <a:folHlink>
        <a:srgbClr val="8A784F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3F1AAB62-24C6-49D2-8E01-B56FAC9A3DC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10</TotalTime>
  <Words>739</Words>
  <Application>Microsoft Office PowerPoint</Application>
  <PresentationFormat>Widescreen</PresentationFormat>
  <Paragraphs>139</Paragraphs>
  <Slides>14</Slides>
  <Notes>0</Notes>
  <HiddenSlides>1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</vt:lpstr>
      <vt:lpstr>Calibri</vt:lpstr>
      <vt:lpstr>Times New Roman</vt:lpstr>
      <vt:lpstr>Wingdings</vt:lpstr>
      <vt:lpstr>Retrospec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Global Entrepreneurship Congress  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ur-step process infographic</dc:title>
  <dc:creator>Shaika Abdulla Alfadhel</dc:creator>
  <cp:lastModifiedBy>WEIF 2017</cp:lastModifiedBy>
  <cp:revision>224</cp:revision>
  <dcterms:created xsi:type="dcterms:W3CDTF">2014-04-18T00:43:11Z</dcterms:created>
  <dcterms:modified xsi:type="dcterms:W3CDTF">2018-12-06T11:10:16Z</dcterms:modified>
</cp:coreProperties>
</file>